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238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65.xml" ContentType="application/vnd.openxmlformats-officedocument.presentationml.tags+xml"/>
  <Override PartName="/ppt/notesSlides/notesSlide23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65" r:id="rId24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238.xml" Id="rId24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8.xml.rels>&#65279;<?xml version="1.0" encoding="utf-8"?><Relationships xmlns="http://schemas.openxmlformats.org/package/2006/relationships"><Relationship Type="http://schemas.openxmlformats.org/officeDocument/2006/relationships/slide" Target="/ppt/slides/slide238.xml" Id="rId2" /><Relationship Type="http://schemas.openxmlformats.org/officeDocument/2006/relationships/notesMaster" Target="/ppt/notesMasters/notesMaster1.xml" Id="rId1" /></Relationships>
</file>

<file path=ppt/notesSlides/notesSlide2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72687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8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065.xml" Id="rId2" /><Relationship Type="http://schemas.openxmlformats.org/officeDocument/2006/relationships/vmlDrawing" Target="/ppt/drawings/vmlDrawing242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42.bin" Id="rId5" /><Relationship Type="http://schemas.openxmlformats.org/officeDocument/2006/relationships/notesSlide" Target="/ppt/notesSlides/notesSlide238.xml" Id="rId4" /></Relationships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1256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327B0F74-0C28-3D8F-04B6-21E4B7414E3D}"/>
              </a:ext>
            </a:extLst>
          </p:cNvPr>
          <p:cNvSpPr>
            <a:spLocks/>
          </p:cNvSpPr>
          <p:nvPr/>
        </p:nvSpPr>
        <p:spPr bwMode="gray">
          <a:xfrm>
            <a:off x="1635990" y="1774429"/>
            <a:ext cx="1375505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dirty="0">
                <a:solidFill>
                  <a:schemeClr val="tx2"/>
                </a:solidFill>
              </a:rPr>
              <a:t>{year_1}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87F416-2D0E-CCA6-BB7F-CEFA9CA8AC32}"/>
              </a:ext>
            </a:extLst>
          </p:cNvPr>
          <p:cNvSpPr>
            <a:spLocks/>
          </p:cNvSpPr>
          <p:nvPr/>
        </p:nvSpPr>
        <p:spPr bwMode="gray">
          <a:xfrm>
            <a:off x="1791413" y="2303523"/>
            <a:ext cx="1438022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dirty="0">
                <a:solidFill>
                  <a:schemeClr val="tx2"/>
                </a:solidFill>
              </a:rPr>
              <a:t>{year_2}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70BE9C6A-62B1-115C-B8CF-BCC445E2E3C7}"/>
              </a:ext>
            </a:extLst>
          </p:cNvPr>
          <p:cNvSpPr>
            <a:spLocks/>
          </p:cNvSpPr>
          <p:nvPr/>
        </p:nvSpPr>
        <p:spPr bwMode="gray">
          <a:xfrm>
            <a:off x="1921924" y="2832615"/>
            <a:ext cx="1436419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dirty="0">
                <a:solidFill>
                  <a:schemeClr val="tx2"/>
                </a:solidFill>
              </a:rPr>
              <a:t>{year_3}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5E09D07B-E2F5-64F9-C5D8-27A61F485EA5}"/>
              </a:ext>
            </a:extLst>
          </p:cNvPr>
          <p:cNvSpPr>
            <a:spLocks/>
          </p:cNvSpPr>
          <p:nvPr/>
        </p:nvSpPr>
        <p:spPr bwMode="gray">
          <a:xfrm>
            <a:off x="1978790" y="3361708"/>
            <a:ext cx="1444434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dirty="0">
                <a:solidFill>
                  <a:schemeClr val="tx2"/>
                </a:solidFill>
              </a:rPr>
              <a:t>{year_4}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F483BDCF-4693-41A3-61EE-AF2BA22FAB1C}"/>
              </a:ext>
            </a:extLst>
          </p:cNvPr>
          <p:cNvSpPr>
            <a:spLocks/>
          </p:cNvSpPr>
          <p:nvPr/>
        </p:nvSpPr>
        <p:spPr bwMode="gray">
          <a:xfrm>
            <a:off x="1978790" y="3890800"/>
            <a:ext cx="1442831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dirty="0">
                <a:solidFill>
                  <a:schemeClr val="tx2"/>
                </a:solidFill>
              </a:rPr>
              <a:t>{year_5}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7982A9CE-7D9A-63C4-3D30-997D242EE386}"/>
              </a:ext>
            </a:extLst>
          </p:cNvPr>
          <p:cNvSpPr>
            <a:spLocks/>
          </p:cNvSpPr>
          <p:nvPr/>
        </p:nvSpPr>
        <p:spPr bwMode="gray">
          <a:xfrm>
            <a:off x="1921924" y="4419893"/>
            <a:ext cx="1441228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dirty="0">
                <a:solidFill>
                  <a:schemeClr val="tx2"/>
                </a:solidFill>
              </a:rPr>
              <a:t>{year_6}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9AC75306-0D2E-1CAE-EC0C-AFF1DB28E2BE}"/>
              </a:ext>
            </a:extLst>
          </p:cNvPr>
          <p:cNvSpPr>
            <a:spLocks/>
          </p:cNvSpPr>
          <p:nvPr/>
        </p:nvSpPr>
        <p:spPr bwMode="gray">
          <a:xfrm>
            <a:off x="1791413" y="4948988"/>
            <a:ext cx="1415580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dirty="0">
                <a:solidFill>
                  <a:schemeClr val="tx2"/>
                </a:solidFill>
              </a:rPr>
              <a:t>{year_7}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EF7AE18C-9C21-498F-364A-DA3286D0B0A6}"/>
              </a:ext>
            </a:extLst>
          </p:cNvPr>
          <p:cNvSpPr>
            <a:spLocks/>
          </p:cNvSpPr>
          <p:nvPr/>
        </p:nvSpPr>
        <p:spPr bwMode="gray">
          <a:xfrm>
            <a:off x="1635990" y="5478082"/>
            <a:ext cx="153099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b="1" dirty="0">
                <a:solidFill>
                  <a:schemeClr val="accent1"/>
                </a:solidFill>
              </a:rPr>
              <a:t>{year_8}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6F9560AD-79A3-C266-D976-3685234D87A7}"/>
              </a:ext>
            </a:extLst>
          </p:cNvPr>
          <p:cNvSpPr>
            <a:spLocks/>
          </p:cNvSpPr>
          <p:nvPr/>
        </p:nvSpPr>
        <p:spPr bwMode="gray">
          <a:xfrm>
            <a:off x="3525491" y="1832104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dirty="0"/>
              <a:t>{year_1_content}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23B24033-9E05-C0C5-6571-0B0786EC613B}"/>
              </a:ext>
            </a:extLst>
          </p:cNvPr>
          <p:cNvSpPr>
            <a:spLocks/>
          </p:cNvSpPr>
          <p:nvPr/>
        </p:nvSpPr>
        <p:spPr bwMode="gray">
          <a:xfrm>
            <a:off x="3525491" y="2361198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dirty="0"/>
              <a:t>{year_2_content}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73EF37B8-DCA8-13E5-C421-E1578DF8AE8E}"/>
              </a:ext>
            </a:extLst>
          </p:cNvPr>
          <p:cNvSpPr>
            <a:spLocks/>
          </p:cNvSpPr>
          <p:nvPr/>
        </p:nvSpPr>
        <p:spPr bwMode="gray">
          <a:xfrm>
            <a:off x="3525491" y="2890290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dirty="0"/>
              <a:t>{year_3_content}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7EFD0CAB-855F-13AD-1E60-05C04E80E0C4}"/>
              </a:ext>
            </a:extLst>
          </p:cNvPr>
          <p:cNvSpPr>
            <a:spLocks/>
          </p:cNvSpPr>
          <p:nvPr/>
        </p:nvSpPr>
        <p:spPr bwMode="gray">
          <a:xfrm>
            <a:off x="3525491" y="3419384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dirty="0"/>
              <a:t>{year_4_content}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3D110FD2-32FE-2ACD-8E56-4A1CE9269053}"/>
              </a:ext>
            </a:extLst>
          </p:cNvPr>
          <p:cNvSpPr>
            <a:spLocks/>
          </p:cNvSpPr>
          <p:nvPr/>
        </p:nvSpPr>
        <p:spPr bwMode="gray">
          <a:xfrm>
            <a:off x="3525491" y="3948476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dirty="0"/>
              <a:t>{year_5_content}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FE6CA086-0E4F-8054-C076-153884C2450B}"/>
              </a:ext>
            </a:extLst>
          </p:cNvPr>
          <p:cNvSpPr>
            <a:spLocks/>
          </p:cNvSpPr>
          <p:nvPr/>
        </p:nvSpPr>
        <p:spPr bwMode="gray">
          <a:xfrm>
            <a:off x="3525491" y="4477568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dirty="0"/>
              <a:t>{year_6_content}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FF5B0520-8755-BCA9-0842-7B6AE8E0B4AA}"/>
              </a:ext>
            </a:extLst>
          </p:cNvPr>
          <p:cNvSpPr>
            <a:spLocks/>
          </p:cNvSpPr>
          <p:nvPr/>
        </p:nvSpPr>
        <p:spPr bwMode="gray">
          <a:xfrm>
            <a:off x="3525491" y="5006660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dirty="0"/>
              <a:t>{year_7_content}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E35FDFD8-4DC5-B23D-CAC8-49D2AD5F578B}"/>
              </a:ext>
            </a:extLst>
          </p:cNvPr>
          <p:cNvSpPr>
            <a:spLocks/>
          </p:cNvSpPr>
          <p:nvPr/>
        </p:nvSpPr>
        <p:spPr bwMode="gray">
          <a:xfrm>
            <a:off x="3525491" y="5535758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b="1" dirty="0">
                <a:solidFill>
                  <a:schemeClr val="tx2"/>
                </a:solidFill>
              </a:rPr>
              <a:t>{year_8_content}</a:t>
            </a:r>
          </a:p>
        </p:txBody>
      </p:sp>
      <p:sp>
        <p:nvSpPr>
          <p:cNvPr id="22" name="Freihandform: Form 24">
            <a:extLst>
              <a:ext uri="{FF2B5EF4-FFF2-40B4-BE49-F238E27FC236}">
                <a16:creationId xmlns:a16="http://schemas.microsoft.com/office/drawing/2014/main" id="{93517D53-2A49-E5B4-2EE2-102DAB187A00}"/>
              </a:ext>
            </a:extLst>
          </p:cNvPr>
          <p:cNvSpPr>
            <a:spLocks/>
          </p:cNvSpPr>
          <p:nvPr/>
        </p:nvSpPr>
        <p:spPr bwMode="gray">
          <a:xfrm>
            <a:off x="1364818" y="1563944"/>
            <a:ext cx="613972" cy="4493956"/>
          </a:xfrm>
          <a:custGeom>
            <a:avLst/>
            <a:gdLst>
              <a:gd name="connsiteX0" fmla="*/ 0 w 507555"/>
              <a:gd name="connsiteY0" fmla="*/ 0 h 3962487"/>
              <a:gd name="connsiteX1" fmla="*/ 10518 w 507555"/>
              <a:gd name="connsiteY1" fmla="*/ 18292 h 3962487"/>
              <a:gd name="connsiteX2" fmla="*/ 507555 w 507555"/>
              <a:gd name="connsiteY2" fmla="*/ 1981243 h 3962487"/>
              <a:gd name="connsiteX3" fmla="*/ 10518 w 507555"/>
              <a:gd name="connsiteY3" fmla="*/ 3944195 h 3962487"/>
              <a:gd name="connsiteX4" fmla="*/ 0 w 507555"/>
              <a:gd name="connsiteY4" fmla="*/ 3962487 h 3962487"/>
              <a:gd name="connsiteX0" fmla="*/ 2780 w 510335"/>
              <a:gd name="connsiteY0" fmla="*/ 0 h 3962487"/>
              <a:gd name="connsiteX1" fmla="*/ 13298 w 510335"/>
              <a:gd name="connsiteY1" fmla="*/ 18292 h 3962487"/>
              <a:gd name="connsiteX2" fmla="*/ 510335 w 510335"/>
              <a:gd name="connsiteY2" fmla="*/ 1981243 h 3962487"/>
              <a:gd name="connsiteX3" fmla="*/ 13298 w 510335"/>
              <a:gd name="connsiteY3" fmla="*/ 3944195 h 3962487"/>
              <a:gd name="connsiteX4" fmla="*/ 2780 w 510335"/>
              <a:gd name="connsiteY4" fmla="*/ 3962487 h 3962487"/>
              <a:gd name="connsiteX5" fmla="*/ 0 w 510335"/>
              <a:gd name="connsiteY5" fmla="*/ 1876795 h 3962487"/>
              <a:gd name="connsiteX6" fmla="*/ 2780 w 510335"/>
              <a:gd name="connsiteY6" fmla="*/ 0 h 3962487"/>
              <a:gd name="connsiteX0" fmla="*/ 0 w 510335"/>
              <a:gd name="connsiteY0" fmla="*/ 1876795 h 3962487"/>
              <a:gd name="connsiteX1" fmla="*/ 2780 w 510335"/>
              <a:gd name="connsiteY1" fmla="*/ 0 h 3962487"/>
              <a:gd name="connsiteX2" fmla="*/ 13298 w 510335"/>
              <a:gd name="connsiteY2" fmla="*/ 18292 h 3962487"/>
              <a:gd name="connsiteX3" fmla="*/ 510335 w 510335"/>
              <a:gd name="connsiteY3" fmla="*/ 1981243 h 3962487"/>
              <a:gd name="connsiteX4" fmla="*/ 13298 w 510335"/>
              <a:gd name="connsiteY4" fmla="*/ 3944195 h 3962487"/>
              <a:gd name="connsiteX5" fmla="*/ 2780 w 510335"/>
              <a:gd name="connsiteY5" fmla="*/ 3962487 h 3962487"/>
              <a:gd name="connsiteX6" fmla="*/ 92964 w 510335"/>
              <a:gd name="connsiteY6" fmla="*/ 1969759 h 3962487"/>
              <a:gd name="connsiteX0" fmla="*/ 0 w 510335"/>
              <a:gd name="connsiteY0" fmla="*/ 1876795 h 3962487"/>
              <a:gd name="connsiteX1" fmla="*/ 2780 w 510335"/>
              <a:gd name="connsiteY1" fmla="*/ 0 h 3962487"/>
              <a:gd name="connsiteX2" fmla="*/ 13298 w 510335"/>
              <a:gd name="connsiteY2" fmla="*/ 18292 h 3962487"/>
              <a:gd name="connsiteX3" fmla="*/ 510335 w 510335"/>
              <a:gd name="connsiteY3" fmla="*/ 1981243 h 3962487"/>
              <a:gd name="connsiteX4" fmla="*/ 13298 w 510335"/>
              <a:gd name="connsiteY4" fmla="*/ 3944195 h 3962487"/>
              <a:gd name="connsiteX5" fmla="*/ 2780 w 510335"/>
              <a:gd name="connsiteY5" fmla="*/ 3962487 h 3962487"/>
              <a:gd name="connsiteX0" fmla="*/ 0 w 507555"/>
              <a:gd name="connsiteY0" fmla="*/ 0 h 3962487"/>
              <a:gd name="connsiteX1" fmla="*/ 10518 w 507555"/>
              <a:gd name="connsiteY1" fmla="*/ 18292 h 3962487"/>
              <a:gd name="connsiteX2" fmla="*/ 507555 w 507555"/>
              <a:gd name="connsiteY2" fmla="*/ 1981243 h 3962487"/>
              <a:gd name="connsiteX3" fmla="*/ 10518 w 507555"/>
              <a:gd name="connsiteY3" fmla="*/ 3944195 h 3962487"/>
              <a:gd name="connsiteX4" fmla="*/ 0 w 507555"/>
              <a:gd name="connsiteY4" fmla="*/ 3962487 h 3962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555" h="3962487">
                <a:moveTo>
                  <a:pt x="0" y="0"/>
                </a:moveTo>
                <a:lnTo>
                  <a:pt x="10518" y="18292"/>
                </a:lnTo>
                <a:cubicBezTo>
                  <a:pt x="327501" y="601805"/>
                  <a:pt x="507555" y="1270497"/>
                  <a:pt x="507555" y="1981243"/>
                </a:cubicBezTo>
                <a:cubicBezTo>
                  <a:pt x="507555" y="2691989"/>
                  <a:pt x="327501" y="3360682"/>
                  <a:pt x="10518" y="3944195"/>
                </a:cubicBezTo>
                <a:lnTo>
                  <a:pt x="0" y="3962487"/>
                </a:ln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</a:endParaRP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281ECDD5-6783-3EA5-B3F0-81554DA61F3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13653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</a:t>
            </a:r>
          </a:p>
        </p:txBody>
      </p:sp>
    </p:spTree>
    <p:extLst>
      <p:ext uri="{BB962C8B-B14F-4D97-AF65-F5344CB8AC3E}">
        <p14:creationId xmlns:p14="http://schemas.microsoft.com/office/powerpoint/2010/main" val="39092380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